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1" r:id="rId1"/>
  </p:sldMasterIdLst>
  <p:notesMasterIdLst>
    <p:notesMasterId r:id="rId15"/>
  </p:notesMasterIdLst>
  <p:handoutMasterIdLst>
    <p:handoutMasterId r:id="rId16"/>
  </p:handoutMasterIdLst>
  <p:sldIdLst>
    <p:sldId id="599" r:id="rId2"/>
    <p:sldId id="617" r:id="rId3"/>
    <p:sldId id="618" r:id="rId4"/>
    <p:sldId id="620" r:id="rId5"/>
    <p:sldId id="621" r:id="rId6"/>
    <p:sldId id="622" r:id="rId7"/>
    <p:sldId id="623" r:id="rId8"/>
    <p:sldId id="624" r:id="rId9"/>
    <p:sldId id="625" r:id="rId10"/>
    <p:sldId id="627" r:id="rId11"/>
    <p:sldId id="628" r:id="rId12"/>
    <p:sldId id="626" r:id="rId13"/>
    <p:sldId id="616" r:id="rId14"/>
  </p:sldIdLst>
  <p:sldSz cx="9144000" cy="6858000" type="screen4x3"/>
  <p:notesSz cx="6797675" cy="9928225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FF"/>
    <a:srgbClr val="FFCCFF"/>
    <a:srgbClr val="3366FF"/>
    <a:srgbClr val="FFCCCC"/>
    <a:srgbClr val="FFFF00"/>
    <a:srgbClr val="FF3399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DBED569-4797-4DF1-A0F4-6AAB3CD982D8}" styleName="浅色样式 3 - 强调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56" autoAdjust="0"/>
    <p:restoredTop sz="78984" autoAdjust="0"/>
  </p:normalViewPr>
  <p:slideViewPr>
    <p:cSldViewPr>
      <p:cViewPr varScale="1">
        <p:scale>
          <a:sx n="92" d="100"/>
          <a:sy n="92" d="100"/>
        </p:scale>
        <p:origin x="2142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724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007" tIns="45504" rIns="91007" bIns="45504" rtlCol="0"/>
          <a:lstStyle>
            <a:lvl1pPr algn="l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007" tIns="45504" rIns="91007" bIns="45504" rtlCol="0"/>
          <a:lstStyle>
            <a:lvl1pPr algn="r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4893F3F9-8722-41EC-94D4-7D487E11BD9F}" type="datetimeFigureOut">
              <a:rPr lang="zh-CN" altLang="en-US"/>
              <a:pPr>
                <a:defRPr/>
              </a:pPr>
              <a:t>2018/3/2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6400" cy="495300"/>
          </a:xfrm>
          <a:prstGeom prst="rect">
            <a:avLst/>
          </a:prstGeom>
        </p:spPr>
        <p:txBody>
          <a:bodyPr vert="horz" lIns="91007" tIns="45504" rIns="91007" bIns="45504" rtlCol="0" anchor="b"/>
          <a:lstStyle>
            <a:lvl1pPr algn="l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9688" y="9431338"/>
            <a:ext cx="2946400" cy="495300"/>
          </a:xfrm>
          <a:prstGeom prst="rect">
            <a:avLst/>
          </a:prstGeom>
        </p:spPr>
        <p:txBody>
          <a:bodyPr vert="horz" lIns="91007" tIns="45504" rIns="91007" bIns="45504" rtlCol="0" anchor="b"/>
          <a:lstStyle>
            <a:lvl1pPr algn="r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80F4F259-F286-4DC0-9868-6DDAC2DBE14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03201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7" tIns="45504" rIns="91007" bIns="45504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7" tIns="45504" rIns="91007" bIns="455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7" tIns="45504" rIns="91007" bIns="455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286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7" tIns="45504" rIns="91007" bIns="45504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86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7" tIns="45504" rIns="91007" bIns="455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5396D226-F761-4171-A2ED-000D90B6D58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500402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sz="2800" baseline="0" dirty="0">
              <a:latin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27187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1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577015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1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193949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713308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sz="2800" baseline="0" dirty="0">
              <a:latin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69133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sz="2800" baseline="0" dirty="0">
              <a:latin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2189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两个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thread dump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文件在分析时特别有效，困为它可以看出在先后两个时间点上，线程执行的位置，如果发现先后两组数据中同一线程都执行在同一位置，则说明此处可能有问题，因为程序运行是极快的，如果两次均在某一点上，说明这一点的耗时是很大的。通过对这两个文件进行分析，查出原因，进而解决问题。</a:t>
            </a:r>
            <a:endParaRPr lang="zh-CN" altLang="en-US" sz="2800" baseline="0" dirty="0">
              <a:latin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84432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28121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25856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现在我们使用一些图形化工具，来帮助我们分析文件中的信息，有效地定位问题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593956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0214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elect s </a:t>
            </a:r>
            <a:b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</a:b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from 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java.lang.String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 s </a:t>
            </a:r>
            <a:b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</a:b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where 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.value.length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 &gt;= 100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96D226-F761-4171-A2ED-000D90B6D58C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78203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b="0">
              <a:solidFill>
                <a:prstClr val="white"/>
              </a:solidFill>
            </a:endParaRPr>
          </a:p>
        </p:txBody>
      </p:sp>
      <p:pic>
        <p:nvPicPr>
          <p:cNvPr id="3" name="图片 7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438" y="6215063"/>
            <a:ext cx="874712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C:\Users\user\Desktop\图片3.jpg"/>
          <p:cNvPicPr>
            <a:picLocks noChangeAspect="1" noChangeArrowheads="1"/>
          </p:cNvPicPr>
          <p:nvPr userDrawn="1"/>
        </p:nvPicPr>
        <p:blipFill>
          <a:blip r:embed="rId3" cstate="print"/>
          <a:srcRect l="20509" r="20551"/>
          <a:stretch>
            <a:fillRect/>
          </a:stretch>
        </p:blipFill>
        <p:spPr bwMode="auto">
          <a:xfrm>
            <a:off x="1619250" y="69850"/>
            <a:ext cx="7253288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E:\李天生\品牌形象室\2品牌传播\2014\1000万辆 品牌标识\千万梦想 出彩长安\乘用车\1000万标识-长安乘用车-中英文组合-01副本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388" y="115888"/>
            <a:ext cx="1439862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前进与你更近版式"/>
          <p:cNvPicPr>
            <a:picLocks noChangeAspect="1" noChangeArrowheads="1"/>
          </p:cNvPicPr>
          <p:nvPr userDrawn="1"/>
        </p:nvPicPr>
        <p:blipFill>
          <a:blip r:embed="rId5" cstate="print"/>
          <a:srcRect l="21445" t="26256" r="20975" b="52965"/>
          <a:stretch>
            <a:fillRect/>
          </a:stretch>
        </p:blipFill>
        <p:spPr bwMode="auto">
          <a:xfrm>
            <a:off x="7253288" y="223838"/>
            <a:ext cx="16192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fld id="{581C80DA-A384-4FFA-815E-10819DA0B3C5}" type="datetimeFigureOut">
              <a:rPr lang="zh-CN" altLang="en-US"/>
              <a:pPr>
                <a:defRPr/>
              </a:pPr>
              <a:t>2018/3/23</a:t>
            </a:fld>
            <a:endParaRPr lang="zh-CN" altLang="en-US"/>
          </a:p>
        </p:txBody>
      </p:sp>
      <p:sp>
        <p:nvSpPr>
          <p:cNvPr id="8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fld id="{7CA079A3-83E5-477D-BE87-F7DECB71542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b="0">
              <a:solidFill>
                <a:prstClr val="white"/>
              </a:solidFill>
            </a:endParaRPr>
          </a:p>
        </p:txBody>
      </p:sp>
      <p:pic>
        <p:nvPicPr>
          <p:cNvPr id="3" name="图片 7" descr="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438" y="6215063"/>
            <a:ext cx="874712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fld id="{63D81AC2-1BF3-4D24-B980-6BAC6BBA6D4E}" type="datetimeFigureOut">
              <a:rPr lang="zh-CN" altLang="en-US"/>
              <a:pPr>
                <a:defRPr/>
              </a:pPr>
              <a:t>2018/3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b="1">
                <a:ea typeface="宋体" charset="-122"/>
              </a:defRPr>
            </a:lvl1pPr>
          </a:lstStyle>
          <a:p>
            <a:pPr>
              <a:defRPr/>
            </a:pPr>
            <a:fld id="{6A53532B-D668-4EE8-AF50-F99E03356E6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:\Users\GSBGGC\Desktop\ping\1000万标识-长安乘用车-中英文组合-01副本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388" y="115888"/>
            <a:ext cx="1439862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C:\Users\user\Desktop\图片3.jpg"/>
          <p:cNvPicPr>
            <a:picLocks noChangeAspect="1" noChangeArrowheads="1"/>
          </p:cNvPicPr>
          <p:nvPr userDrawn="1"/>
        </p:nvPicPr>
        <p:blipFill>
          <a:blip r:embed="rId7" cstate="print"/>
          <a:srcRect l="20509" r="2"/>
          <a:stretch>
            <a:fillRect/>
          </a:stretch>
        </p:blipFill>
        <p:spPr bwMode="auto">
          <a:xfrm>
            <a:off x="1763713" y="65088"/>
            <a:ext cx="7129462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前进与你更近版式"/>
          <p:cNvPicPr>
            <a:picLocks noChangeAspect="1" noChangeArrowheads="1"/>
          </p:cNvPicPr>
          <p:nvPr userDrawn="1"/>
        </p:nvPicPr>
        <p:blipFill>
          <a:blip r:embed="rId8" cstate="print"/>
          <a:srcRect l="21445" t="26256" r="20975" b="52965"/>
          <a:stretch>
            <a:fillRect/>
          </a:stretch>
        </p:blipFill>
        <p:spPr bwMode="auto">
          <a:xfrm>
            <a:off x="7242175" y="188913"/>
            <a:ext cx="16192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cut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user\Desktop\图片3.jpg"/>
          <p:cNvPicPr>
            <a:picLocks noChangeAspect="1" noChangeArrowheads="1"/>
          </p:cNvPicPr>
          <p:nvPr userDrawn="1"/>
        </p:nvPicPr>
        <p:blipFill>
          <a:blip r:embed="rId5" cstate="print"/>
          <a:srcRect l="20509" r="20551"/>
          <a:stretch>
            <a:fillRect/>
          </a:stretch>
        </p:blipFill>
        <p:spPr bwMode="auto">
          <a:xfrm>
            <a:off x="1619250" y="69850"/>
            <a:ext cx="7253288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2" descr="E:\李天生\品牌形象室\2品牌传播\2014\1000万辆 品牌标识\千万梦想 出彩长安\乘用车\1000万标识-长安乘用车-中英文组合-01副本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388" y="115888"/>
            <a:ext cx="1439862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2" descr="前进与你更近版式"/>
          <p:cNvPicPr>
            <a:picLocks noChangeAspect="1" noChangeArrowheads="1"/>
          </p:cNvPicPr>
          <p:nvPr userDrawn="1"/>
        </p:nvPicPr>
        <p:blipFill>
          <a:blip r:embed="rId7" cstate="print"/>
          <a:srcRect l="21445" t="26256" r="20975" b="52965"/>
          <a:stretch>
            <a:fillRect/>
          </a:stretch>
        </p:blipFill>
        <p:spPr bwMode="auto">
          <a:xfrm>
            <a:off x="7253288" y="223838"/>
            <a:ext cx="1619250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矩形 16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b="0">
              <a:solidFill>
                <a:prstClr val="white"/>
              </a:solidFill>
            </a:endParaRPr>
          </a:p>
        </p:txBody>
      </p:sp>
      <p:pic>
        <p:nvPicPr>
          <p:cNvPr id="3078" name="图片 7" descr="2.jpg"/>
          <p:cNvPicPr>
            <a:picLocks noChangeAspect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8438" y="6215063"/>
            <a:ext cx="874712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>
                <a:solidFill>
                  <a:prstClr val="black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442608B3-CD53-4EB7-9153-231F38D6C726}" type="datetimeFigureOut">
              <a:rPr lang="zh-CN" altLang="en-US"/>
              <a:pPr>
                <a:defRPr/>
              </a:pPr>
              <a:t>2018/3/23</a:t>
            </a:fld>
            <a:endParaRPr lang="zh-CN" altLang="en-US"/>
          </a:p>
        </p:txBody>
      </p:sp>
      <p:sp>
        <p:nvSpPr>
          <p:cNvPr id="20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 b="0">
                <a:solidFill>
                  <a:prstClr val="black"/>
                </a:solidFill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0">
                <a:solidFill>
                  <a:prstClr val="black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0B5DE7D2-68B9-4CC2-81BC-CB49DCE39B5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619672" y="1916832"/>
            <a:ext cx="568863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 smtClean="0"/>
              <a:t>Java</a:t>
            </a:r>
            <a:r>
              <a:rPr lang="zh-CN" altLang="en-US" sz="3200" dirty="0" smtClean="0"/>
              <a:t>程序性能分析</a:t>
            </a:r>
            <a:endParaRPr lang="en-US" altLang="zh-CN" sz="3200" dirty="0" smtClean="0"/>
          </a:p>
          <a:p>
            <a:endParaRPr lang="en-US" altLang="zh-CN" dirty="0"/>
          </a:p>
          <a:p>
            <a:pPr algn="ctr"/>
            <a:r>
              <a:rPr lang="zh-CN" altLang="en-US" dirty="0" smtClean="0"/>
              <a:t>之</a:t>
            </a:r>
            <a:endParaRPr lang="en-US" altLang="zh-CN" dirty="0" smtClean="0"/>
          </a:p>
          <a:p>
            <a:endParaRPr lang="en-US" altLang="zh-CN" dirty="0"/>
          </a:p>
          <a:p>
            <a:pPr algn="ctr"/>
            <a:r>
              <a:rPr lang="en-US" altLang="zh-CN" dirty="0" smtClean="0"/>
              <a:t>thread </a:t>
            </a:r>
            <a:r>
              <a:rPr lang="en-US" altLang="zh-CN" dirty="0"/>
              <a:t>dump</a:t>
            </a:r>
            <a:r>
              <a:rPr lang="zh-CN" altLang="en-US" dirty="0"/>
              <a:t>和</a:t>
            </a:r>
            <a:r>
              <a:rPr lang="en-US" altLang="zh-CN" dirty="0"/>
              <a:t>heap dump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57224" y="1357298"/>
            <a:ext cx="37753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0" dirty="0" smtClean="0"/>
              <a:t>（</a:t>
            </a:r>
            <a:r>
              <a:rPr lang="en-US" altLang="zh-CN" b="0" dirty="0" smtClean="0"/>
              <a:t>1</a:t>
            </a:r>
            <a:r>
              <a:rPr lang="zh-CN" altLang="en-US" b="0" dirty="0" smtClean="0"/>
              <a:t>）显示出堆中所包含的所有的类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857224" y="2143116"/>
            <a:ext cx="30828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0" dirty="0" smtClean="0"/>
              <a:t>（</a:t>
            </a:r>
            <a:r>
              <a:rPr lang="en-US" altLang="zh-CN" b="0" dirty="0" smtClean="0"/>
              <a:t>2</a:t>
            </a:r>
            <a:r>
              <a:rPr lang="zh-CN" altLang="en-US" b="0" dirty="0" smtClean="0"/>
              <a:t>）从根集能引用到的对象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857224" y="2928934"/>
            <a:ext cx="42370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0" dirty="0" smtClean="0"/>
              <a:t>（</a:t>
            </a:r>
            <a:r>
              <a:rPr lang="en-US" altLang="zh-CN" b="0" dirty="0" smtClean="0"/>
              <a:t>3</a:t>
            </a:r>
            <a:r>
              <a:rPr lang="zh-CN" altLang="en-US" b="0" dirty="0" smtClean="0"/>
              <a:t>）显示平台包括的所有类的实例数量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74364" y="3714752"/>
            <a:ext cx="2409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（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4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）堆实例的分布表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854311" y="4509120"/>
            <a:ext cx="35926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（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5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）执行对象查询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语句（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OQL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）</a:t>
            </a:r>
            <a:endParaRPr lang="zh-CN" alt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http://hi.csdn.net/attachment/201011/27/0_1290846932gSmq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980728"/>
            <a:ext cx="7848872" cy="4040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1641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971600" y="1268760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2.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使用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jvisualvm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工具</a:t>
            </a:r>
            <a:endParaRPr lang="en-US" altLang="zh-CN" b="0" dirty="0" smtClean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endParaRPr lang="zh-CN" altLang="en-US" b="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</a:t>
            </a:r>
            <a:endParaRPr lang="zh-CN" altLang="en-US" b="0" i="0" dirty="0">
              <a:solidFill>
                <a:srgbClr val="000000"/>
              </a:solidFill>
              <a:effectLst/>
              <a:latin typeface="Verdana" panose="020B0604030504040204" pitchFamily="34" charset="0"/>
            </a:endParaRPr>
          </a:p>
        </p:txBody>
      </p:sp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2976" y="2357430"/>
            <a:ext cx="6348404" cy="365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矩形 4"/>
          <p:cNvSpPr/>
          <p:nvPr/>
        </p:nvSpPr>
        <p:spPr>
          <a:xfrm>
            <a:off x="1071538" y="1785927"/>
            <a:ext cx="68580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JDK_HOME/bin/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jvisualvm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7118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 descr="长安行天下 横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513" y="2200275"/>
            <a:ext cx="5197475" cy="194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11560" y="980728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一、</a:t>
            </a:r>
            <a:r>
              <a:rPr lang="en-US" altLang="zh-CN" dirty="0" smtClean="0"/>
              <a:t>dump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1547664" y="1556793"/>
            <a:ext cx="64807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在故障定位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(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尤其是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out of memory)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和性能分析的时候，经常会用到一些文件来帮助我们排除代码问题。这些文件记录了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VM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运行期间的内存占用、线程执行等情况，这就是我们常说的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。常用的有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和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（也叫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javacore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，或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ava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）。我们可以这么理解：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记录内存信息的，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是记录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CPU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信息的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58790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755576" y="1196752"/>
            <a:ext cx="17123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0" smtClean="0">
                <a:solidFill>
                  <a:srgbClr val="000000"/>
                </a:solidFill>
                <a:latin typeface="Verdana" panose="020B0604030504040204" pitchFamily="34" charset="0"/>
              </a:rPr>
              <a:t> </a:t>
            </a:r>
            <a:r>
              <a:rPr lang="en-US" altLang="zh-CN" smtClean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1835696" y="1916832"/>
            <a:ext cx="568863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是一个二进制文件，它保存了某一时刻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VM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堆中对象使用情况。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Heap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是指定时刻的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ava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堆栈的快照，是一种镜像文件。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Analyzer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工具通过分析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Heap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，哪些对象占用了太多的堆栈空间，来发现导致内存泄露或者可能引起内存泄露的对象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975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27584" y="1196752"/>
            <a:ext cx="18517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1547664" y="1844824"/>
            <a:ext cx="595840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主要保存的是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ava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应用中各线程在某一时刻的运行的位置，即执行到哪一个类的哪一个方法哪一个行上。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是一个文本文件，打开后可以看到每一个线程的执行栈，以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stacktrace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的方式显示。通过对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的分析可以得到应用是否“卡”在某一点上，即在某一点运行的时间太长，如数据库查询，长期得不到响应，最终导致系统崩溃。单个的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一般来说是没有什么用处的，因为它只是记录了某一个绝对时间点的情况。比较有用的是，线程在一个时间段内的执行情况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5973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23528" y="980728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solidFill>
                  <a:srgbClr val="000000"/>
                </a:solidFill>
                <a:latin typeface="Verdana" panose="020B0604030504040204" pitchFamily="34" charset="0"/>
              </a:rPr>
              <a:t>二、获取</a:t>
            </a:r>
            <a:r>
              <a:rPr lang="en-US" altLang="zh-CN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dirty="0">
                <a:solidFill>
                  <a:srgbClr val="000000"/>
                </a:solidFill>
                <a:latin typeface="Verdana" panose="020B0604030504040204" pitchFamily="34" charset="0"/>
              </a:rPr>
              <a:t>文件和</a:t>
            </a:r>
            <a:r>
              <a:rPr lang="en-US" altLang="zh-CN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dirty="0">
                <a:solidFill>
                  <a:srgbClr val="000000"/>
                </a:solidFill>
                <a:latin typeface="Verdana" panose="020B0604030504040204" pitchFamily="34" charset="0"/>
              </a:rPr>
              <a:t>文件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27584" y="1700808"/>
            <a:ext cx="646246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1.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获取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</a:t>
            </a:r>
          </a:p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windows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下切换到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DK_HOME/bin/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，执行以下命令：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jmap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 -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dump:format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=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b,file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=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heap.hprof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进程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ID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 </a:t>
            </a:r>
          </a:p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linux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下切换到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DK_HOME/bin/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，执行以下命令：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./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jmap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 -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dump:format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=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b,file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=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heap.hprof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进程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ID</a:t>
            </a:r>
            <a:endParaRPr lang="en-US" altLang="zh-CN" b="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这样就会在当前目录下生成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heap.hprof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，这就是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eap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。</a:t>
            </a:r>
          </a:p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2.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获取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</a:t>
            </a:r>
          </a:p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windows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下执行：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jstack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zh-CN" altLang="en-US" b="0" dirty="0" smtClean="0"/>
              <a:t>进程</a:t>
            </a:r>
            <a:r>
              <a:rPr lang="en-US" altLang="zh-CN" b="0" dirty="0" smtClean="0"/>
              <a:t>ID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&gt; thread.txt</a:t>
            </a:r>
          </a:p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linux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下执行：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./</a:t>
            </a:r>
            <a:r>
              <a:rPr lang="en-US" altLang="zh-CN" b="0" dirty="0" err="1" smtClean="0">
                <a:solidFill>
                  <a:srgbClr val="000000"/>
                </a:solidFill>
                <a:latin typeface="Verdana" panose="020B0604030504040204" pitchFamily="34" charset="0"/>
              </a:rPr>
              <a:t>jstack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zh-CN" altLang="en-US" b="0" dirty="0" smtClean="0"/>
              <a:t>进程</a:t>
            </a:r>
            <a:r>
              <a:rPr lang="en-US" altLang="zh-CN" b="0" dirty="0" smtClean="0"/>
              <a:t>ID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&gt; thread.txt</a:t>
            </a:r>
          </a:p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        windows/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linux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则会将命令执行结果转储到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.txt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，这就是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thread 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。有了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后，我们就能借助性能分析工具获取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文件中的信息。</a:t>
            </a:r>
            <a:endParaRPr lang="zh-CN" altLang="en-US" b="0" i="0" dirty="0">
              <a:solidFill>
                <a:srgbClr val="000000"/>
              </a:solidFill>
              <a:effectLst/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604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971600" y="1124744"/>
            <a:ext cx="61926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将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dump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中存活的对象导出</a:t>
            </a:r>
            <a:r>
              <a:rPr lang="zh-CN" altLang="en-US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，使用</a:t>
            </a:r>
            <a:r>
              <a:rPr lang="en-US" altLang="zh-CN" b="0" dirty="0" smtClean="0">
                <a:solidFill>
                  <a:srgbClr val="000000"/>
                </a:solidFill>
                <a:latin typeface="Verdana" panose="020B0604030504040204" pitchFamily="34" charset="0"/>
              </a:rPr>
              <a:t>live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参数</a:t>
            </a:r>
            <a:endParaRPr lang="zh-CN" altLang="en-US" dirty="0"/>
          </a:p>
        </p:txBody>
      </p:sp>
      <p:pic>
        <p:nvPicPr>
          <p:cNvPr id="55298" name="Picture 2" descr="http://dl2.iteye.com/upload/attachment/0109/6707/9cd31bb4-7226-3bc2-8073-89ae91e91f1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20" y="2714620"/>
            <a:ext cx="8536019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1000100" y="1714488"/>
            <a:ext cx="6715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 err="1" smtClean="0"/>
              <a:t>jmap</a:t>
            </a:r>
            <a:r>
              <a:rPr lang="en-US" b="0" dirty="0" smtClean="0"/>
              <a:t> -</a:t>
            </a:r>
            <a:r>
              <a:rPr lang="en-US" b="0" dirty="0" err="1" smtClean="0"/>
              <a:t>dump:live,format</a:t>
            </a:r>
            <a:r>
              <a:rPr lang="en-US" b="0" dirty="0" smtClean="0"/>
              <a:t>=</a:t>
            </a:r>
            <a:r>
              <a:rPr lang="en-US" b="0" dirty="0" err="1" smtClean="0"/>
              <a:t>b,file</a:t>
            </a:r>
            <a:r>
              <a:rPr lang="en-US" b="0" dirty="0" smtClean="0"/>
              <a:t>=</a:t>
            </a:r>
            <a:r>
              <a:rPr lang="en-US" b="0" dirty="0" err="1" smtClean="0"/>
              <a:t>heapLive.hprof</a:t>
            </a:r>
            <a:r>
              <a:rPr lang="en-US" b="0" dirty="0" smtClean="0"/>
              <a:t>    </a:t>
            </a:r>
            <a:r>
              <a:rPr lang="zh-CN" altLang="en-US" b="0" dirty="0" smtClean="0"/>
              <a:t>进程</a:t>
            </a:r>
            <a:r>
              <a:rPr lang="en-US" altLang="zh-CN" b="0" dirty="0" smtClean="0"/>
              <a:t>ID</a:t>
            </a:r>
            <a:r>
              <a:rPr lang="en-US" b="0" dirty="0" smtClean="0"/>
              <a:t>   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65659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67544" y="980728"/>
            <a:ext cx="8424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执行完后，我们在当前目录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C:\Java\jdk1.6.0_27\bin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下看到刚生成的三个文件</a:t>
            </a:r>
            <a:endParaRPr lang="zh-CN" altLang="en-US" dirty="0"/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4348" y="2357430"/>
            <a:ext cx="7743825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78667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95536" y="1196752"/>
            <a:ext cx="44358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000000"/>
                </a:solidFill>
                <a:latin typeface="Verdana" panose="020B0604030504040204" pitchFamily="34" charset="0"/>
              </a:rPr>
              <a:t>三</a:t>
            </a:r>
            <a:r>
              <a:rPr lang="en-US" altLang="zh-CN" dirty="0">
                <a:solidFill>
                  <a:srgbClr val="000000"/>
                </a:solidFill>
                <a:latin typeface="Verdana" panose="020B0604030504040204" pitchFamily="34" charset="0"/>
              </a:rPr>
              <a:t>.</a:t>
            </a:r>
            <a:r>
              <a:rPr lang="zh-CN" altLang="en-US" dirty="0">
                <a:solidFill>
                  <a:srgbClr val="000000"/>
                </a:solidFill>
                <a:latin typeface="Verdana" panose="020B0604030504040204" pitchFamily="34" charset="0"/>
              </a:rPr>
              <a:t>使用工具分析</a:t>
            </a:r>
            <a:r>
              <a:rPr lang="en-US" altLang="zh-CN" dirty="0">
                <a:solidFill>
                  <a:srgbClr val="000000"/>
                </a:solidFill>
                <a:latin typeface="Verdana" panose="020B0604030504040204" pitchFamily="34" charset="0"/>
              </a:rPr>
              <a:t>java heap dump</a:t>
            </a:r>
            <a:r>
              <a:rPr lang="zh-CN" altLang="en-US" dirty="0">
                <a:solidFill>
                  <a:srgbClr val="000000"/>
                </a:solidFill>
                <a:latin typeface="Verdana" panose="020B0604030504040204" pitchFamily="34" charset="0"/>
              </a:rPr>
              <a:t>文件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539552" y="1988840"/>
            <a:ext cx="29290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1.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使用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DK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自带的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jhat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命令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565432" y="2636912"/>
            <a:ext cx="81830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 </a:t>
            </a:r>
            <a:r>
              <a:rPr lang="en-US" altLang="zh-CN" b="0" dirty="0" err="1">
                <a:solidFill>
                  <a:srgbClr val="000000"/>
                </a:solidFill>
                <a:latin typeface="Verdana" panose="020B0604030504040204" pitchFamily="34" charset="0"/>
              </a:rPr>
              <a:t>jhat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是用来分析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java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堆的命令，可以将堆中的对象以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tml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的形式显示出来，包括对象的数量，大小等等，并支持对象查询语言。</a:t>
            </a:r>
            <a:endParaRPr lang="zh-CN" altLang="en-US" dirty="0"/>
          </a:p>
        </p:txBody>
      </p:sp>
      <p:pic>
        <p:nvPicPr>
          <p:cNvPr id="57346" name="Picture 2" descr="http://dl2.iteye.com/upload/attachment/0109/6715/54eb34d2-3d7a-3989-b302-53944a53a50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72" y="3857628"/>
            <a:ext cx="7702491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矩形 5"/>
          <p:cNvSpPr/>
          <p:nvPr/>
        </p:nvSpPr>
        <p:spPr>
          <a:xfrm>
            <a:off x="642910" y="3286124"/>
            <a:ext cx="28392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dirty="0" err="1" smtClean="0"/>
              <a:t>jhat</a:t>
            </a:r>
            <a:r>
              <a:rPr lang="en-US" b="0" dirty="0" smtClean="0"/>
              <a:t> -port 5000 </a:t>
            </a:r>
            <a:r>
              <a:rPr lang="en-US" b="0" dirty="0" err="1" smtClean="0"/>
              <a:t>heap.hprof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7976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714348" y="857232"/>
            <a:ext cx="74888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当服务启动完成后，我们就可以在浏览器中，通过</a:t>
            </a:r>
            <a:r>
              <a:rPr lang="en-US" altLang="zh-CN" b="0" dirty="0">
                <a:solidFill>
                  <a:srgbClr val="000000"/>
                </a:solidFill>
                <a:latin typeface="Verdana" panose="020B0604030504040204" pitchFamily="34" charset="0"/>
              </a:rPr>
              <a:t>http://localhost:5000/</a:t>
            </a:r>
            <a:r>
              <a:rPr lang="zh-CN" altLang="en-US" b="0" dirty="0">
                <a:solidFill>
                  <a:srgbClr val="000000"/>
                </a:solidFill>
                <a:latin typeface="Verdana" panose="020B0604030504040204" pitchFamily="34" charset="0"/>
              </a:rPr>
              <a:t>进行访问</a:t>
            </a:r>
            <a:endParaRPr lang="zh-CN" altLang="en-US" dirty="0"/>
          </a:p>
        </p:txBody>
      </p:sp>
      <p:pic>
        <p:nvPicPr>
          <p:cNvPr id="58370" name="Picture 2" descr="http://dl2.iteye.com/upload/attachment/0109/6717/0f4d3b8b-1288-30c4-8bd9-c86f958a5b89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786" y="1857364"/>
            <a:ext cx="7312298" cy="334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421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36</TotalTime>
  <Words>599</Words>
  <Application>Microsoft Office PowerPoint</Application>
  <PresentationFormat>全屏显示(4:3)</PresentationFormat>
  <Paragraphs>51</Paragraphs>
  <Slides>1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9" baseType="lpstr">
      <vt:lpstr>宋体</vt:lpstr>
      <vt:lpstr>Arial</vt:lpstr>
      <vt:lpstr>Calibri</vt:lpstr>
      <vt:lpstr>Verdana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User</dc:creator>
  <cp:lastModifiedBy>hp</cp:lastModifiedBy>
  <cp:revision>2198</cp:revision>
  <dcterms:created xsi:type="dcterms:W3CDTF">2010-11-16T09:02:25Z</dcterms:created>
  <dcterms:modified xsi:type="dcterms:W3CDTF">2018-03-23T02:15:31Z</dcterms:modified>
</cp:coreProperties>
</file>